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18"/>
  </p:notesMasterIdLst>
  <p:sldIdLst>
    <p:sldId id="256" r:id="rId2"/>
    <p:sldId id="274" r:id="rId3"/>
    <p:sldId id="281" r:id="rId4"/>
    <p:sldId id="280" r:id="rId5"/>
    <p:sldId id="279" r:id="rId6"/>
    <p:sldId id="260" r:id="rId7"/>
    <p:sldId id="275" r:id="rId8"/>
    <p:sldId id="261" r:id="rId9"/>
    <p:sldId id="272" r:id="rId10"/>
    <p:sldId id="282" r:id="rId11"/>
    <p:sldId id="268" r:id="rId12"/>
    <p:sldId id="283" r:id="rId13"/>
    <p:sldId id="278" r:id="rId14"/>
    <p:sldId id="269" r:id="rId15"/>
    <p:sldId id="284" r:id="rId16"/>
    <p:sldId id="285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51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80BAD1-0067-8C68-F5FC-ACE4BA634986}" v="128" dt="2023-11-21T10:48:47.784"/>
    <p1510:client id="{6EFFFBC9-199E-8CDE-AFF4-734A461D43A9}" v="433" dt="2023-11-21T12:07:50.263"/>
    <p1510:client id="{CEBA5C2E-94AB-6F45-8EA1-E16149E7F867}" v="3151" dt="2023-11-21T12:09:22.8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17" d="100"/>
          <a:sy n="117" d="100"/>
        </p:scale>
        <p:origin x="8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7ABAB7-B3A3-4912-B246-FFEBCC6B69E1}" type="datetimeFigureOut">
              <a:t>21.11.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98F60-73E2-4499-99A3-B3AE2808F55C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384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1 Video Game market overview </a:t>
            </a:r>
          </a:p>
          <a:p>
            <a:r>
              <a:rPr lang="en-US"/>
              <a:t>2. </a:t>
            </a:r>
            <a:r>
              <a:rPr lang="en-US" err="1"/>
              <a:t>Deepdive</a:t>
            </a:r>
            <a:r>
              <a:rPr lang="en-US"/>
              <a:t> on console market</a:t>
            </a:r>
          </a:p>
          <a:p>
            <a:r>
              <a:rPr lang="en-US"/>
              <a:t>3. deeper look into products</a:t>
            </a:r>
          </a:p>
          <a:p>
            <a:r>
              <a:rPr lang="en-US"/>
              <a:t>4. PS4/PS5</a:t>
            </a:r>
            <a:endParaRPr lang="en-US">
              <a:ea typeface="Calibri"/>
              <a:cs typeface="Calibri"/>
            </a:endParaRPr>
          </a:p>
          <a:p>
            <a:r>
              <a:rPr lang="en-US"/>
              <a:t>5. console sales progress over time</a:t>
            </a:r>
            <a:endParaRPr lang="en-US">
              <a:ea typeface="Calibri"/>
              <a:cs typeface="Calibri"/>
            </a:endParaRPr>
          </a:p>
          <a:p>
            <a:r>
              <a:rPr lang="en-US"/>
              <a:t>6. video games made specifically for PS, talk about the major series made specifically for </a:t>
            </a:r>
            <a:r>
              <a:rPr lang="en-US" err="1"/>
              <a:t>playstation</a:t>
            </a:r>
            <a:endParaRPr lang="en-US">
              <a:ea typeface="Calibri"/>
              <a:cs typeface="Calibri"/>
            </a:endParaRPr>
          </a:p>
          <a:p>
            <a:r>
              <a:rPr lang="en-US"/>
              <a:t>7. transition to professional e-spo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0207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6986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6. transition to professional e-sports</a:t>
            </a:r>
          </a:p>
          <a:p>
            <a:r>
              <a:rPr lang="en-US"/>
              <a:t>7. Dota 2 </a:t>
            </a:r>
            <a:r>
              <a:rPr lang="en-US" err="1"/>
              <a:t>prizepool</a:t>
            </a:r>
            <a:r>
              <a:rPr lang="en-US"/>
              <a:t> domination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5826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6. transition to professional e-sports</a:t>
            </a:r>
          </a:p>
          <a:p>
            <a:r>
              <a:rPr lang="en-US"/>
              <a:t>7. Dota 2 </a:t>
            </a:r>
            <a:r>
              <a:rPr lang="en-US" err="1"/>
              <a:t>prizepool</a:t>
            </a:r>
            <a:r>
              <a:rPr lang="en-US"/>
              <a:t> domination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484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4733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>
                <a:cs typeface="Calibri"/>
              </a:rPr>
              <a:t>Video Game market overview</a:t>
            </a:r>
          </a:p>
          <a:p>
            <a:r>
              <a:rPr lang="en-US">
                <a:cs typeface="Calibri"/>
              </a:rPr>
              <a:t>TITLE: </a:t>
            </a:r>
            <a:endParaRPr lang="en-US"/>
          </a:p>
          <a:p>
            <a:r>
              <a:rPr lang="en-US"/>
              <a:t>Inflection Point: Video Game Sales Descend After 2011 Peak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9081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>
                <a:cs typeface="Calibri"/>
              </a:rPr>
              <a:t>Video Game market overview</a:t>
            </a:r>
          </a:p>
          <a:p>
            <a:r>
              <a:rPr lang="en-US">
                <a:cs typeface="Calibri"/>
              </a:rPr>
              <a:t>TITLE: </a:t>
            </a:r>
            <a:endParaRPr lang="en-US"/>
          </a:p>
          <a:p>
            <a:r>
              <a:rPr lang="en-US"/>
              <a:t>Inflection Point: Video Game Sales Descend After 2011 Peak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517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9899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684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ubtitle: </a:t>
            </a:r>
            <a:r>
              <a:rPr lang="en-GB" b="0" i="0" u="none" strike="noStrike">
                <a:solidFill>
                  <a:srgbClr val="ECECF1"/>
                </a:solidFill>
                <a:effectLst/>
                <a:latin typeface="Söhne"/>
              </a:rPr>
              <a:t>Showcasing the Top 20 Best-Selling Consoles with Unit Sales in Millions</a:t>
            </a:r>
          </a:p>
          <a:p>
            <a:r>
              <a:rPr lang="en-GB" b="0" i="0" u="none" strike="noStrike">
                <a:solidFill>
                  <a:srgbClr val="ECECF1"/>
                </a:solidFill>
                <a:effectLst/>
                <a:latin typeface="Söhne"/>
                <a:cs typeface="Calibri"/>
              </a:rPr>
              <a:t>Title: S</a:t>
            </a:r>
            <a:r>
              <a:rPr lang="en-GB" b="0" i="0" u="none" strike="noStrike">
                <a:solidFill>
                  <a:srgbClr val="ECECF1"/>
                </a:solidFill>
                <a:effectLst/>
                <a:latin typeface="Söhne"/>
              </a:rPr>
              <a:t>ony and Nintendo Lead the Charge in Console Sales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6113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We see that PS4 still has the highest sales even though PS5 is released. Likely because PS4 has been in the market for longer. NOW let's take a look at whether the introduction of PS5 reduced sales of PS4 at all...</a:t>
            </a:r>
            <a:br>
              <a:rPr lang="en-US">
                <a:cs typeface="Calibri"/>
              </a:rPr>
            </a:br>
            <a:br>
              <a:rPr lang="en-US">
                <a:cs typeface="Calibri"/>
              </a:rPr>
            </a:br>
            <a:r>
              <a:rPr lang="en-US">
                <a:cs typeface="Calibri"/>
              </a:rPr>
              <a:t>Title: </a:t>
            </a:r>
            <a:r>
              <a:rPr lang="en-GB" b="0" i="0" u="none" strike="noStrike">
                <a:solidFill>
                  <a:srgbClr val="ECECF1"/>
                </a:solidFill>
                <a:effectLst/>
                <a:latin typeface="Söhne"/>
              </a:rPr>
              <a:t>Dominance of the Nintendo Switch and PlayStation 4 in last decade</a:t>
            </a:r>
            <a:br>
              <a:rPr lang="en-GB" b="0" i="0" u="none" strike="noStrike">
                <a:solidFill>
                  <a:srgbClr val="ECECF1"/>
                </a:solidFill>
                <a:effectLst/>
                <a:latin typeface="Söhne"/>
              </a:rPr>
            </a:br>
            <a:r>
              <a:rPr lang="en-GB" b="0" i="0" u="none" strike="noStrike">
                <a:solidFill>
                  <a:srgbClr val="ECECF1"/>
                </a:solidFill>
                <a:effectLst/>
                <a:latin typeface="Söhne"/>
              </a:rPr>
              <a:t>Subtitle: Top 10 Best-Seller Consoles from 2010-2020 by Units Sold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785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4. PS4/PS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198F60-73E2-4499-99A3-B3AE2808F55C}" type="slidenum"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961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77394-0A20-4CF6-9066-CFC2C1C9D3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9149" y="389840"/>
            <a:ext cx="8281987" cy="2954655"/>
          </a:xfrm>
        </p:spPr>
        <p:txBody>
          <a:bodyPr anchor="t" anchorCtr="0">
            <a:norm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10971F-8922-4B23-9C80-0643D7E350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149" y="3536951"/>
            <a:ext cx="8281989" cy="255587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tx1">
                    <a:alpha val="8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1BC074-1090-47AF-BDE8-3859BF574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A7947-E287-4738-8C82-07CE4F01EF03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6522F-D41A-4734-8BD1-BD6E5A37D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D4206-406C-42A3-BBD4-44C043180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143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879361-B9A1-48F2-9473-23DE30E2D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03906"/>
            <a:ext cx="11090275" cy="1333057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986779-C2F3-447D-85F7-F6B0E2C97D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661572-1A59-4E3B-BA65-3329E9468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EBD84-71F4-4271-8C46-0D47C0A9B12E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F84F1-99FE-4F0B-9E76-F581C2C1B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B2D769-16B1-43C4-BF14-317553351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884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E56583A-514F-4632-820D-E7EE236A46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73CBBB-7DDC-4437-8C7D-22A1C35202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C69EBF-DA20-4024-8006-B158D571E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0CE1-F450-4107-B2CB-17B18F8A3F4A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BAC8B9-14B5-4DF1-994D-AB47DB3BA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876582-5F9B-4F5E-AAD5-D608CB68E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711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4B040-51E3-4DA0-B21D-EEE173E75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49275"/>
            <a:ext cx="11091600" cy="1332000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A2CD90-429B-4A55-B6C8-DD6CE69941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2113199"/>
            <a:ext cx="11090274" cy="3979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4EE704-5DCA-484E-85E0-0E3A7B1C5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8C025-CD7A-4966-867E-81CF82B15267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A69B66-1C18-44A2-93F7-97DED26F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44B5A0-66FA-433A-8DC5-C097C63B4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8981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A2564-D3DB-48AD-83F0-6CC6B574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63" y="474345"/>
            <a:ext cx="11077574" cy="2954655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64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03DDF-462A-45CE-931B-010AB4F73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09929-0719-4517-94D6-FDF7F99E70F6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E10702-2ACF-4768-9E91-8CB87B895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DFA722-391E-4FCF-8E15-0D7E2EC02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EEA752-36DA-440B-8747-0EB2914080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271" y="3629772"/>
            <a:ext cx="11074866" cy="267895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2400">
                <a:solidFill>
                  <a:schemeClr val="tx1">
                    <a:alpha val="8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7968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8E540-142B-4A82-9C3F-E61BC190A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090274" cy="1332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C6BF36-D4F5-4363-B440-BDAE50BBD4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2097175"/>
            <a:ext cx="5435600" cy="3995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362910-87AA-4E67-992D-8D4822FD89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538" y="2097175"/>
            <a:ext cx="5435600" cy="3995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99A8AF-0998-4613-B1D8-C14ECBFFD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95673-5512-4AAA-9AEB-E00C61EC65D5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E44EAA-B8A9-4428-A9DF-1174DA94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E5C381-C899-4BF9-B584-2D78074D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298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E62014-F04C-495A-964E-6B888D49C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49275"/>
            <a:ext cx="11097551" cy="1332000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2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DF027-E633-44EE-ACA0-C205930AA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4" y="1881275"/>
            <a:ext cx="5437186" cy="535354"/>
          </a:xfrm>
        </p:spPr>
        <p:txBody>
          <a:bodyPr anchor="b">
            <a:normAutofit/>
          </a:bodyPr>
          <a:lstStyle>
            <a:lvl1pPr marL="0" indent="0">
              <a:buNone/>
              <a:defRPr sz="1400" b="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A4F363-FEEF-4CD2-A18E-17AE8D4851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0863" y="2577270"/>
            <a:ext cx="5429114" cy="35155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E50F8C-4D64-40FD-AE8C-6A1F3C2A84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12024" y="1881275"/>
            <a:ext cx="5436392" cy="535354"/>
          </a:xfr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1400" b="0" cap="all" spc="200" baseline="0" dirty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AC943E-DB2B-40E0-907F-8EA1404791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12023" y="2577270"/>
            <a:ext cx="5436391" cy="35155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CDCD5B-3F26-4AFA-8BD4-E5D8DD2AF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38FA-2E87-4873-8BBA-13E447C9A99A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10D1EE-83A0-4FB5-9B25-8A73DE891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031C35-2E5B-491D-85ED-DB42A4FE1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698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2053C-0E9C-4159-B7C9-6AB743439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149" y="550799"/>
            <a:ext cx="8283313" cy="5542025"/>
          </a:xfr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F51F65-E111-4656-83BE-CFCDE2DD6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BB40A-97BD-4BFB-B639-0BFF95FDE8B7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FF82CB-2D17-4918-821E-485475CF2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6589D-A056-4817-AE15-39D87FE13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407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81B449-7B97-41DC-B23F-65EDCBD31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E9E0E3-ECF6-4CFE-8698-AEFEBCECC3C0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6B46D5-337B-4906-8412-4EEA3884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36F230-C9A7-407A-B923-873839C8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654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FF76C-A012-4CDA-8AE7-E94139557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090275" cy="98488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1A4C80-DC38-4641-924F-90D6078CF5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5775" y="1750060"/>
            <a:ext cx="7345362" cy="43427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C42771-D3A7-4072-85DC-B7C5E530E8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3" y="1750060"/>
            <a:ext cx="3565525" cy="434276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D47AB1-6EB5-4E2C-B4A7-42DC643E9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462FC-960E-4740-921F-B36862979F21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9D15F-B6ED-46E1-9840-0B625880E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AEB023-7A5E-4087-B75E-A38A80EE5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532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EE0A0-B07E-479B-9684-4BD09FA43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75409"/>
            <a:ext cx="4500562" cy="984885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2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1893A9-3462-4F51-83AE-5D2F124B98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67324" y="575409"/>
            <a:ext cx="6373813" cy="5733316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A9240C-79C0-4A88-A476-725DE1B9C2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3" y="1776195"/>
            <a:ext cx="4500562" cy="4532530"/>
          </a:xfrm>
        </p:spPr>
        <p:txBody>
          <a:bodyPr anchor="t" anchorCtr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7D2D6F-49E8-4217-A908-2D9E43583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BC9E2-CB44-4C05-9BB5-496C18A241E0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1C4440-6B8D-4A24-A807-8B1302A3D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CFE189-E20B-4108-B290-244424336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99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B212F7D-23E1-A2DD-DA85-5B275EC7AF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000168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212F7D-23E1-A2DD-DA85-5B275EC7A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028302-E866-455D-8898-536230275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11090275" cy="1333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94E72B-F0CF-4BC4-B509-A1C4508BE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2113862"/>
            <a:ext cx="11091600" cy="3978963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ACE49D-C22F-4540-AC09-E421D2A2ED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6507212"/>
            <a:ext cx="26289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246CB39B-5F4C-4A7E-9BE3-AAFD45576D16}" type="datetime2">
              <a:rPr lang="en-US" smtClean="0"/>
              <a:t>Tuesday, November 21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D5C3BE-317E-49E8-82B5-C8A7EC9C8A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9150" y="6507212"/>
            <a:ext cx="637921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574E12-6C16-431F-B2CE-E4B15916B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48863" y="6507212"/>
            <a:ext cx="169227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DBA1B0FB-D917-4C8C-928F-313BD683BF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9007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4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800"/>
        </a:spcAft>
        <a:buFont typeface="Arial" panose="020B0604020202020204" pitchFamily="34" charset="0"/>
        <a:buChar char="•"/>
        <a:defRPr sz="24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8.xml"/><Relationship Id="rId5" Type="http://schemas.openxmlformats.org/officeDocument/2006/relationships/image" Target="../media/image3.jpeg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BD4683-EE7E-CDD6-57BC-FC0540942A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5081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BD4683-EE7E-CDD6-57BC-FC0540942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 descr="Neon Coloured Gadgets">
            <a:extLst>
              <a:ext uri="{FF2B5EF4-FFF2-40B4-BE49-F238E27FC236}">
                <a16:creationId xmlns:a16="http://schemas.microsoft.com/office/drawing/2014/main" id="{1CE82A16-5B8B-7E92-ECDE-F2CA050D85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0775"/>
          <a:stretch/>
        </p:blipFill>
        <p:spPr>
          <a:xfrm>
            <a:off x="20" y="1"/>
            <a:ext cx="1219198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3951" y="549275"/>
            <a:ext cx="5437187" cy="2986234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latin typeface="The Serif Hand Black"/>
                <a:ea typeface="+mj-lt"/>
                <a:cs typeface="+mj-lt"/>
              </a:rPr>
              <a:t>Digital Playgrounds: </a:t>
            </a:r>
            <a:br>
              <a:rPr lang="en-US">
                <a:latin typeface="The Serif Hand Black"/>
                <a:ea typeface="+mj-lt"/>
                <a:cs typeface="+mj-lt"/>
              </a:rPr>
            </a:br>
            <a:r>
              <a:rPr lang="en-US">
                <a:latin typeface="The Serif Hand Black"/>
                <a:ea typeface="+mj-lt"/>
                <a:cs typeface="+mj-lt"/>
              </a:rPr>
              <a:t>A Snapshot of Today's Gaming Industry</a:t>
            </a:r>
            <a:endParaRPr lang="en-US">
              <a:latin typeface="The Serif Hand Black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03951" y="3827610"/>
            <a:ext cx="5437187" cy="2265216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Group   5: </a:t>
            </a:r>
          </a:p>
          <a:p>
            <a:r>
              <a:rPr lang="en-US" err="1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Yaoming</a:t>
            </a:r>
            <a:r>
              <a:rPr lang="en-US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 Jiang, Juliette </a:t>
            </a:r>
            <a:r>
              <a:rPr lang="en-US" err="1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Larmuseau</a:t>
            </a:r>
            <a:r>
              <a:rPr lang="en-US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, </a:t>
            </a:r>
            <a:r>
              <a:rPr lang="en-US" err="1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Swarnim</a:t>
            </a:r>
            <a:r>
              <a:rPr lang="en-US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 </a:t>
            </a:r>
            <a:r>
              <a:rPr lang="en-US" err="1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Mudaliar</a:t>
            </a:r>
            <a:r>
              <a:rPr lang="en-US">
                <a:solidFill>
                  <a:schemeClr val="tx1">
                    <a:alpha val="60000"/>
                  </a:schemeClr>
                </a:solidFill>
                <a:latin typeface="The Serif Hand Black"/>
                <a:ea typeface="Calibri"/>
                <a:cs typeface="Calibri"/>
              </a:rPr>
              <a:t>, Svenja Nitschke, Radhika Taneja, Albert Xu</a:t>
            </a:r>
            <a:endParaRPr lang="en-US">
              <a:solidFill>
                <a:schemeClr val="tx1">
                  <a:alpha val="60000"/>
                </a:schemeClr>
              </a:solidFill>
              <a:latin typeface="The Serif Hand Black"/>
            </a:endParaRP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80E58E-7623-5740-27C8-C6C6731EA9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0067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80E58E-7623-5740-27C8-C6C6731EA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DEC7FF-3D3C-4D92-4001-956A6300D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49275"/>
            <a:ext cx="11091600" cy="1332000"/>
          </a:xfrm>
        </p:spPr>
        <p:txBody>
          <a:bodyPr vert="horz">
            <a:normAutofit/>
          </a:bodyPr>
          <a:lstStyle/>
          <a:p>
            <a:r>
              <a:rPr lang="en-GB" sz="2000">
                <a:solidFill>
                  <a:schemeClr val="accent6">
                    <a:lumMod val="50000"/>
                  </a:schemeClr>
                </a:solidFill>
              </a:rPr>
              <a:t>Showcasing Japan's Pioneering Consoles That Revolutionized the Global Gaming Market</a:t>
            </a:r>
            <a:br>
              <a:rPr lang="en-GB" sz="3000">
                <a:solidFill>
                  <a:schemeClr val="accent6">
                    <a:lumMod val="50000"/>
                  </a:schemeClr>
                </a:solidFill>
              </a:rPr>
            </a:br>
            <a:r>
              <a:rPr lang="en-GB" sz="3000" b="1">
                <a:solidFill>
                  <a:schemeClr val="accent6">
                    <a:lumMod val="50000"/>
                  </a:schemeClr>
                </a:solidFill>
              </a:rPr>
              <a:t>Decade's Defenders: Stalwarts of the Console Market</a:t>
            </a:r>
            <a:endParaRPr lang="en-DE" sz="3000" b="1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A62603-69E3-5820-E5EB-8BA0C41DF231}"/>
              </a:ext>
            </a:extLst>
          </p:cNvPr>
          <p:cNvSpPr/>
          <p:nvPr/>
        </p:nvSpPr>
        <p:spPr>
          <a:xfrm>
            <a:off x="550862" y="2113199"/>
            <a:ext cx="3202431" cy="2937266"/>
          </a:xfrm>
          <a:prstGeom prst="rect">
            <a:avLst/>
          </a:prstGeom>
          <a:solidFill>
            <a:srgbClr val="4F516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BD2B9A-7536-F8BA-B228-D98E92B0EF59}"/>
              </a:ext>
            </a:extLst>
          </p:cNvPr>
          <p:cNvSpPr/>
          <p:nvPr/>
        </p:nvSpPr>
        <p:spPr>
          <a:xfrm>
            <a:off x="4494783" y="2113199"/>
            <a:ext cx="3202431" cy="2937266"/>
          </a:xfrm>
          <a:prstGeom prst="rect">
            <a:avLst/>
          </a:prstGeom>
          <a:solidFill>
            <a:srgbClr val="4F516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D601F3-F778-28D6-8F35-E1D7D1AE936A}"/>
              </a:ext>
            </a:extLst>
          </p:cNvPr>
          <p:cNvSpPr/>
          <p:nvPr/>
        </p:nvSpPr>
        <p:spPr>
          <a:xfrm>
            <a:off x="8438704" y="2113199"/>
            <a:ext cx="3202431" cy="2937266"/>
          </a:xfrm>
          <a:prstGeom prst="rect">
            <a:avLst/>
          </a:prstGeom>
          <a:solidFill>
            <a:srgbClr val="4F516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026" name="Picture 2" descr="Dimprice | Nintendo Switch Console - Neon Red / Neon blue (Latest Model)">
            <a:extLst>
              <a:ext uri="{FF2B5EF4-FFF2-40B4-BE49-F238E27FC236}">
                <a16:creationId xmlns:a16="http://schemas.microsoft.com/office/drawing/2014/main" id="{9EA3980B-760B-481B-F7FD-A8C2534951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512" y="2510269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8">
            <a:extLst>
              <a:ext uri="{FF2B5EF4-FFF2-40B4-BE49-F238E27FC236}">
                <a16:creationId xmlns:a16="http://schemas.microsoft.com/office/drawing/2014/main" id="{20AAD9DC-DA38-2726-20A0-8C5B72B33414}"/>
              </a:ext>
            </a:extLst>
          </p:cNvPr>
          <p:cNvSpPr txBox="1">
            <a:spLocks/>
          </p:cNvSpPr>
          <p:nvPr/>
        </p:nvSpPr>
        <p:spPr>
          <a:xfrm>
            <a:off x="782282" y="2237079"/>
            <a:ext cx="2739587" cy="3307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400" b="1"/>
              <a:t>Nintendo Switch</a:t>
            </a:r>
            <a:endParaRPr lang="en-GB" sz="2000"/>
          </a:p>
        </p:txBody>
      </p:sp>
      <p:pic>
        <p:nvPicPr>
          <p:cNvPr id="8" name="Picture 2" descr="Dimprice | Nintendo Switch Console - Neon Red / Neon blue (Latest Model)">
            <a:extLst>
              <a:ext uri="{FF2B5EF4-FFF2-40B4-BE49-F238E27FC236}">
                <a16:creationId xmlns:a16="http://schemas.microsoft.com/office/drawing/2014/main" id="{10CE03CE-AD58-3420-63AD-5046B61D2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512" y="2510269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6295FE6A-7E9F-78F5-4F27-A167CDBFE327}"/>
              </a:ext>
            </a:extLst>
          </p:cNvPr>
          <p:cNvSpPr txBox="1">
            <a:spLocks/>
          </p:cNvSpPr>
          <p:nvPr/>
        </p:nvSpPr>
        <p:spPr>
          <a:xfrm>
            <a:off x="550858" y="4538848"/>
            <a:ext cx="3202431" cy="3307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500"/>
              <a:t>Launched in 2017</a:t>
            </a:r>
          </a:p>
          <a:p>
            <a:pPr algn="ctr"/>
            <a:r>
              <a:rPr lang="en-GB" sz="1500"/>
              <a:t>Price: $299.99</a:t>
            </a:r>
          </a:p>
        </p:txBody>
      </p:sp>
      <p:pic>
        <p:nvPicPr>
          <p:cNvPr id="10" name="Picture 4" descr="Sony PS4 Pro, PS4 Slim Deals Hit New Price Lows [Updated] - Forbes Vetted">
            <a:extLst>
              <a:ext uri="{FF2B5EF4-FFF2-40B4-BE49-F238E27FC236}">
                <a16:creationId xmlns:a16="http://schemas.microsoft.com/office/drawing/2014/main" id="{7E47B137-A57D-38C2-54ED-4DDF7736B2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466" y="2694264"/>
            <a:ext cx="2375063" cy="1775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8">
            <a:extLst>
              <a:ext uri="{FF2B5EF4-FFF2-40B4-BE49-F238E27FC236}">
                <a16:creationId xmlns:a16="http://schemas.microsoft.com/office/drawing/2014/main" id="{939A46C8-ECBD-7B4E-DC12-51DC3E9343D6}"/>
              </a:ext>
            </a:extLst>
          </p:cNvPr>
          <p:cNvSpPr txBox="1">
            <a:spLocks/>
          </p:cNvSpPr>
          <p:nvPr/>
        </p:nvSpPr>
        <p:spPr>
          <a:xfrm>
            <a:off x="4494783" y="2237079"/>
            <a:ext cx="3202432" cy="3307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400" b="1"/>
              <a:t>PlayStation 4</a:t>
            </a:r>
            <a:endParaRPr lang="en-GB" sz="2000"/>
          </a:p>
        </p:txBody>
      </p:sp>
      <p:sp>
        <p:nvSpPr>
          <p:cNvPr id="14" name="Title 8">
            <a:extLst>
              <a:ext uri="{FF2B5EF4-FFF2-40B4-BE49-F238E27FC236}">
                <a16:creationId xmlns:a16="http://schemas.microsoft.com/office/drawing/2014/main" id="{714A5D70-876C-6206-54FA-B68F294396A0}"/>
              </a:ext>
            </a:extLst>
          </p:cNvPr>
          <p:cNvSpPr txBox="1">
            <a:spLocks/>
          </p:cNvSpPr>
          <p:nvPr/>
        </p:nvSpPr>
        <p:spPr>
          <a:xfrm>
            <a:off x="4494773" y="4538848"/>
            <a:ext cx="3202442" cy="3307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500"/>
              <a:t>Launched in 2013</a:t>
            </a:r>
          </a:p>
          <a:p>
            <a:pPr algn="ctr"/>
            <a:r>
              <a:rPr lang="en-GB" sz="1500"/>
              <a:t>Price: $399.99 </a:t>
            </a: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5B51C0A5-231E-4EEE-2F30-8974C8B90B5A}"/>
              </a:ext>
            </a:extLst>
          </p:cNvPr>
          <p:cNvSpPr txBox="1">
            <a:spLocks/>
          </p:cNvSpPr>
          <p:nvPr/>
        </p:nvSpPr>
        <p:spPr>
          <a:xfrm>
            <a:off x="8438702" y="2237079"/>
            <a:ext cx="3202432" cy="3307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400" b="1"/>
              <a:t>Nintendo 3DS</a:t>
            </a:r>
            <a:endParaRPr lang="en-GB" sz="2000"/>
          </a:p>
        </p:txBody>
      </p:sp>
      <p:pic>
        <p:nvPicPr>
          <p:cNvPr id="16" name="Picture 6" descr="Nintendo 3DS Metallic Red Console [NA] - Consolevariations">
            <a:extLst>
              <a:ext uri="{FF2B5EF4-FFF2-40B4-BE49-F238E27FC236}">
                <a16:creationId xmlns:a16="http://schemas.microsoft.com/office/drawing/2014/main" id="{C44AD466-0BB1-FC3B-5C57-D69354790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2768" y="2844360"/>
            <a:ext cx="1954300" cy="147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8">
            <a:extLst>
              <a:ext uri="{FF2B5EF4-FFF2-40B4-BE49-F238E27FC236}">
                <a16:creationId xmlns:a16="http://schemas.microsoft.com/office/drawing/2014/main" id="{01627D51-D6B6-74B5-15C8-84F814D1963C}"/>
              </a:ext>
            </a:extLst>
          </p:cNvPr>
          <p:cNvSpPr txBox="1">
            <a:spLocks/>
          </p:cNvSpPr>
          <p:nvPr/>
        </p:nvSpPr>
        <p:spPr>
          <a:xfrm>
            <a:off x="8438698" y="4538848"/>
            <a:ext cx="3202438" cy="3307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500"/>
              <a:t>Launched in 2011</a:t>
            </a:r>
          </a:p>
          <a:p>
            <a:pPr algn="ctr"/>
            <a:r>
              <a:rPr lang="en-GB" sz="1500"/>
              <a:t>Price: $249.99 </a:t>
            </a:r>
          </a:p>
        </p:txBody>
      </p:sp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99624A73-5452-17A1-0491-978E0B78DA30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1030" name="TextBox 1029">
              <a:extLst>
                <a:ext uri="{FF2B5EF4-FFF2-40B4-BE49-F238E27FC236}">
                  <a16:creationId xmlns:a16="http://schemas.microsoft.com/office/drawing/2014/main" id="{71DDE11D-E425-28F2-9DFF-B898416325F3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1031" name="TextBox 1030">
              <a:extLst>
                <a:ext uri="{FF2B5EF4-FFF2-40B4-BE49-F238E27FC236}">
                  <a16:creationId xmlns:a16="http://schemas.microsoft.com/office/drawing/2014/main" id="{8557B96E-ACBF-F3F0-4B7A-300D11DA442E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1032" name="TextBox 3">
              <a:extLst>
                <a:ext uri="{FF2B5EF4-FFF2-40B4-BE49-F238E27FC236}">
                  <a16:creationId xmlns:a16="http://schemas.microsoft.com/office/drawing/2014/main" id="{DFCC63B6-9963-5EC7-6186-88CAC78CDAD5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35012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EB82F6-F55E-C605-C31A-61509E2014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8533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EB82F6-F55E-C605-C31A-61509E201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 descr="Game controller outline">
            <a:extLst>
              <a:ext uri="{FF2B5EF4-FFF2-40B4-BE49-F238E27FC236}">
                <a16:creationId xmlns:a16="http://schemas.microsoft.com/office/drawing/2014/main" id="{82C53168-A222-3072-1650-C9CA6F9F1E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DED4F41B-E29C-4D4F-30C0-7DD2403AA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2700">
                <a:solidFill>
                  <a:schemeClr val="bg1"/>
                </a:solidFill>
              </a:rPr>
              <a:t>How do newer versions impact sales?</a:t>
            </a:r>
            <a:br>
              <a:rPr lang="en-GB" sz="2700" b="1"/>
            </a:br>
            <a:r>
              <a:rPr lang="en-GB" sz="3000" b="1">
                <a:solidFill>
                  <a:schemeClr val="accent6">
                    <a:lumMod val="50000"/>
                  </a:schemeClr>
                </a:solidFill>
              </a:rPr>
              <a:t>The PlayStation Legacy: PS4 and PS5's Market Impact</a:t>
            </a:r>
            <a:br>
              <a:rPr lang="en-GB" sz="2700" b="1"/>
            </a:br>
            <a:endParaRPr lang="en-GB" sz="240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3" name="Picture 2" descr="A graph of sales&#10;&#10;Description automatically generated">
            <a:extLst>
              <a:ext uri="{FF2B5EF4-FFF2-40B4-BE49-F238E27FC236}">
                <a16:creationId xmlns:a16="http://schemas.microsoft.com/office/drawing/2014/main" id="{435210E0-AD1C-279E-E916-F8947FE081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7728" y="1676429"/>
            <a:ext cx="6421461" cy="4601128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C3D5B9FF-9622-2031-888A-9AB5F3E2E514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E303672-D4B9-6BE0-26DB-C38DB841A328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D5D00C1-773B-33F0-0C42-853A2BE5F30F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24" name="TextBox 3">
              <a:extLst>
                <a:ext uri="{FF2B5EF4-FFF2-40B4-BE49-F238E27FC236}">
                  <a16:creationId xmlns:a16="http://schemas.microsoft.com/office/drawing/2014/main" id="{15EF31CF-6830-5788-1CC4-95DAD4DE0FCE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21468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FA8555AA-4AA4-EF9C-DFDD-2ED7F91685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2866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8555AA-4AA4-EF9C-DFDD-2ED7F9168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 up of a text&#10;&#10;Description automatically generated">
            <a:extLst>
              <a:ext uri="{FF2B5EF4-FFF2-40B4-BE49-F238E27FC236}">
                <a16:creationId xmlns:a16="http://schemas.microsoft.com/office/drawing/2014/main" id="{BC8A8DBD-6C3D-AFA5-6CB5-0E07DD7F6E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117" y="1843725"/>
            <a:ext cx="4568372" cy="4546137"/>
          </a:xfrm>
          <a:prstGeom prst="rect">
            <a:avLst/>
          </a:prstGeom>
        </p:spPr>
      </p:pic>
      <p:sp>
        <p:nvSpPr>
          <p:cNvPr id="11" name="Title 7">
            <a:extLst>
              <a:ext uri="{FF2B5EF4-FFF2-40B4-BE49-F238E27FC236}">
                <a16:creationId xmlns:a16="http://schemas.microsoft.com/office/drawing/2014/main" id="{6E432837-54E2-A2B8-E318-343501C8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090275" cy="984885"/>
          </a:xfrm>
        </p:spPr>
        <p:txBody>
          <a:bodyPr vert="horz">
            <a:normAutofit/>
          </a:bodyPr>
          <a:lstStyle/>
          <a:p>
            <a:r>
              <a:rPr lang="en-GB" sz="2400">
                <a:solidFill>
                  <a:schemeClr val="bg1"/>
                </a:solidFill>
              </a:rPr>
              <a:t>What are PlayStation's most popular games? </a:t>
            </a:r>
            <a:br>
              <a:rPr lang="en-GB" sz="2700" b="1"/>
            </a:br>
            <a:r>
              <a:rPr lang="en-GB" sz="2700" b="1">
                <a:solidFill>
                  <a:schemeClr val="accent6">
                    <a:lumMod val="50000"/>
                  </a:schemeClr>
                </a:solidFill>
              </a:rPr>
              <a:t>Diving into the PlayStation Universe: A Spectrum of Blockbusters</a:t>
            </a:r>
            <a:endParaRPr lang="en-GB" sz="240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608416E-968B-277F-3B4F-ACEE2412894B}"/>
              </a:ext>
            </a:extLst>
          </p:cNvPr>
          <p:cNvSpPr/>
          <p:nvPr/>
        </p:nvSpPr>
        <p:spPr>
          <a:xfrm>
            <a:off x="7549703" y="1843725"/>
            <a:ext cx="3775179" cy="435665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spcBef>
                <a:spcPts val="400"/>
              </a:spcBef>
            </a:pPr>
            <a:endParaRPr lang="en-US" sz="160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spcBef>
                <a:spcPts val="400"/>
              </a:spcBef>
              <a:buFont typeface="Arial"/>
              <a:buChar char="•"/>
            </a:pPr>
            <a:r>
              <a:rPr lang="en-GB" sz="16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Top 50 games by sales for PlayStation</a:t>
            </a:r>
          </a:p>
          <a:p>
            <a:pPr marL="285750" indent="-285750">
              <a:spcBef>
                <a:spcPts val="400"/>
              </a:spcBef>
              <a:buFont typeface="Arial"/>
              <a:buChar char="•"/>
            </a:pPr>
            <a:r>
              <a:rPr lang="en-GB" sz="16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Popularity </a:t>
            </a:r>
            <a:r>
              <a:rPr lang="en-GB" sz="16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is</a:t>
            </a:r>
            <a:r>
              <a:rPr lang="en-GB" sz="16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 evenly spread</a:t>
            </a:r>
          </a:p>
          <a:p>
            <a:pPr marL="285750" indent="-285750">
              <a:spcBef>
                <a:spcPts val="400"/>
              </a:spcBef>
              <a:buFont typeface="Arial"/>
              <a:buChar char="•"/>
            </a:pPr>
            <a:r>
              <a:rPr lang="en-GB" sz="16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Franchises</a:t>
            </a:r>
            <a:r>
              <a:rPr lang="en-GB" sz="16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 like 'Call of Duty' and 'FIFA' show recurring success, indicating strong </a:t>
            </a:r>
            <a:r>
              <a:rPr lang="en-GB" sz="16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brand loyalty</a:t>
            </a:r>
          </a:p>
          <a:p>
            <a:pPr marL="285750" indent="-285750">
              <a:spcBef>
                <a:spcPts val="400"/>
              </a:spcBef>
              <a:buFont typeface="Arial"/>
              <a:buChar char="•"/>
            </a:pPr>
            <a:r>
              <a:rPr lang="en-GB" sz="16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Many games offer robust</a:t>
            </a:r>
            <a:r>
              <a:rPr lang="en-GB" sz="16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 online multiplayer features</a:t>
            </a:r>
            <a:r>
              <a:rPr lang="en-GB" sz="16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, reflecting the social shift in gaming </a:t>
            </a:r>
          </a:p>
          <a:p>
            <a:pPr marL="285750" indent="-285750">
              <a:buFont typeface="Arial"/>
              <a:buChar char="•"/>
            </a:pPr>
            <a:endParaRPr lang="en-GB" sz="1400">
              <a:solidFill>
                <a:schemeClr val="accent6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en-GB" sz="1400">
              <a:solidFill>
                <a:schemeClr val="accent6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en-GB" sz="1600">
              <a:solidFill>
                <a:schemeClr val="accent6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en-GB" sz="1600">
              <a:solidFill>
                <a:schemeClr val="accent6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GB" sz="1600" b="1">
                <a:solidFill>
                  <a:schemeClr val="accent6">
                    <a:lumMod val="50000"/>
                  </a:schemeClr>
                </a:solidFill>
              </a:rPr>
              <a:t>How many of these have you played before?</a:t>
            </a:r>
            <a:endParaRPr lang="en-GB">
              <a:solidFill>
                <a:schemeClr val="accent6">
                  <a:lumMod val="50000"/>
                </a:schemeClr>
              </a:solidFill>
            </a:endParaRPr>
          </a:p>
          <a:p>
            <a:endParaRPr lang="en-GB" sz="200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DD5C357-72BE-978C-FFDA-20EF2C935EB8}"/>
              </a:ext>
            </a:extLst>
          </p:cNvPr>
          <p:cNvSpPr txBox="1">
            <a:spLocks/>
          </p:cNvSpPr>
          <p:nvPr/>
        </p:nvSpPr>
        <p:spPr>
          <a:xfrm>
            <a:off x="260400" y="1676526"/>
            <a:ext cx="5781807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600" b="1">
                <a:solidFill>
                  <a:schemeClr val="bg1"/>
                </a:solidFill>
                <a:latin typeface="+mn-lt"/>
              </a:rPr>
              <a:t>PlayStation’s most popular games – An illustration </a:t>
            </a:r>
            <a:endParaRPr lang="en-GB" sz="1600" b="1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3" name="Graphic 12" descr="Chevron arrows with solid fill">
            <a:extLst>
              <a:ext uri="{FF2B5EF4-FFF2-40B4-BE49-F238E27FC236}">
                <a16:creationId xmlns:a16="http://schemas.microsoft.com/office/drawing/2014/main" id="{E1637CE4-E936-0E7E-956F-0432101E92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7363" y="3367043"/>
            <a:ext cx="914400" cy="914400"/>
          </a:xfrm>
          <a:prstGeom prst="rect">
            <a:avLst/>
          </a:prstGeom>
        </p:spPr>
      </p:pic>
      <p:pic>
        <p:nvPicPr>
          <p:cNvPr id="17" name="Graphic 16" descr="Chevron arrows with solid fill">
            <a:extLst>
              <a:ext uri="{FF2B5EF4-FFF2-40B4-BE49-F238E27FC236}">
                <a16:creationId xmlns:a16="http://schemas.microsoft.com/office/drawing/2014/main" id="{2CF9EA44-F958-E62E-8914-912A0DDB84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9208692" y="4637761"/>
            <a:ext cx="457200" cy="457200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CFF1A620-E953-7B51-7516-1862D9B184DC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B5A1409-32B7-D1F7-C41A-40F796E55ADD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00A1FB7-528F-270A-9DCA-3A4CDAD7076B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23" name="TextBox 3">
              <a:extLst>
                <a:ext uri="{FF2B5EF4-FFF2-40B4-BE49-F238E27FC236}">
                  <a16:creationId xmlns:a16="http://schemas.microsoft.com/office/drawing/2014/main" id="{BF06D8DE-98BD-1E2F-184D-EC5CEE3EE9DD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22776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D8DDED5-7925-63A9-E8D0-493D0EB24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02171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8DDED5-7925-63A9-E8D0-493D0EB24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 descr="Game controller outline">
            <a:extLst>
              <a:ext uri="{FF2B5EF4-FFF2-40B4-BE49-F238E27FC236}">
                <a16:creationId xmlns:a16="http://schemas.microsoft.com/office/drawing/2014/main" id="{3C40400D-C46D-53B0-EB9D-FE362FE80C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A1346EB-4035-E8EE-31DA-9F98F567A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104928" cy="5337077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pPr algn="ctr"/>
            <a:r>
              <a:rPr lang="en-GB" sz="3600" b="1">
                <a:solidFill>
                  <a:schemeClr val="bg1"/>
                </a:solidFill>
              </a:rPr>
              <a:t>What opportunities lie in this industry?</a:t>
            </a:r>
            <a:br>
              <a:rPr lang="en-GB" sz="3600" b="1">
                <a:solidFill>
                  <a:schemeClr val="bg1"/>
                </a:solidFill>
              </a:rPr>
            </a:br>
            <a:br>
              <a:rPr lang="en-GB" sz="3600" b="1"/>
            </a:br>
            <a:r>
              <a:rPr lang="en-GB" sz="3600" b="1">
                <a:solidFill>
                  <a:schemeClr val="bg1"/>
                </a:solidFill>
              </a:rPr>
              <a:t>Part III: The </a:t>
            </a:r>
            <a:r>
              <a:rPr lang="en-GB" sz="3600" b="1">
                <a:solidFill>
                  <a:srgbClr val="7030A0"/>
                </a:solidFill>
              </a:rPr>
              <a:t>Career</a:t>
            </a:r>
          </a:p>
        </p:txBody>
      </p:sp>
    </p:spTree>
    <p:extLst>
      <p:ext uri="{BB962C8B-B14F-4D97-AF65-F5344CB8AC3E}">
        <p14:creationId xmlns:p14="http://schemas.microsoft.com/office/powerpoint/2010/main" val="5495734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BBAB9A9-C824-321B-D6F3-1641B8629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8243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BAB9A9-C824-321B-D6F3-1641B8629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 descr="Game controller outline">
            <a:extLst>
              <a:ext uri="{FF2B5EF4-FFF2-40B4-BE49-F238E27FC236}">
                <a16:creationId xmlns:a16="http://schemas.microsoft.com/office/drawing/2014/main" id="{82C53168-A222-3072-1650-C9CA6F9F1E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0860A504-186C-6107-6CBF-235B8F051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2700">
                <a:solidFill>
                  <a:schemeClr val="bg1"/>
                </a:solidFill>
              </a:rPr>
              <a:t>Wait, but what about professional gaming? </a:t>
            </a:r>
            <a:br>
              <a:rPr lang="en-GB" sz="2700" b="1"/>
            </a:br>
            <a:r>
              <a:rPr lang="en-GB" sz="2700" b="1" i="0" u="none" strike="noStrike">
                <a:solidFill>
                  <a:schemeClr val="accent6">
                    <a:lumMod val="50000"/>
                  </a:schemeClr>
                </a:solidFill>
                <a:effectLst/>
              </a:rPr>
              <a:t>From Living Room to Arena: The Rise of Professional E-Sports</a:t>
            </a:r>
            <a:br>
              <a:rPr lang="en-GB" sz="2700" b="1" i="0" u="none" strike="noStrike">
                <a:effectLst/>
              </a:rPr>
            </a:br>
            <a:endParaRPr lang="en-GB" sz="220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C50996C-A785-4958-EB87-20AEA9A4273B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58F9A1B-E268-58DD-5A0B-399F7E9F3C48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5F74083-4851-25F6-E308-3552689033EE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10" name="TextBox 3">
              <a:extLst>
                <a:ext uri="{FF2B5EF4-FFF2-40B4-BE49-F238E27FC236}">
                  <a16:creationId xmlns:a16="http://schemas.microsoft.com/office/drawing/2014/main" id="{1F6D4A68-7697-71A3-454E-436D2E7A64FE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B6467678-A928-F290-2B15-98E3F1285D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43509" y="1531394"/>
            <a:ext cx="7504981" cy="463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546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BBAB9A9-C824-321B-D6F3-1641B8629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BAB9A9-C824-321B-D6F3-1641B8629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 descr="Game controller outline">
            <a:extLst>
              <a:ext uri="{FF2B5EF4-FFF2-40B4-BE49-F238E27FC236}">
                <a16:creationId xmlns:a16="http://schemas.microsoft.com/office/drawing/2014/main" id="{82C53168-A222-3072-1650-C9CA6F9F1E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0860A504-186C-6107-6CBF-235B8F051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2700">
                <a:solidFill>
                  <a:schemeClr val="bg1"/>
                </a:solidFill>
              </a:rPr>
              <a:t>Wait, but what about professional gaming? </a:t>
            </a:r>
            <a:br>
              <a:rPr lang="en-GB" sz="2700" b="1"/>
            </a:br>
            <a:r>
              <a:rPr lang="en-GB" sz="2700" b="1" i="0" u="none" strike="noStrike">
                <a:solidFill>
                  <a:schemeClr val="accent6">
                    <a:lumMod val="50000"/>
                  </a:schemeClr>
                </a:solidFill>
                <a:effectLst/>
              </a:rPr>
              <a:t>From Living Room to Arena: The Rise of Professional E-Sports</a:t>
            </a:r>
            <a:br>
              <a:rPr lang="en-GB" sz="2700" b="1" i="0" u="none" strike="noStrike">
                <a:effectLst/>
              </a:rPr>
            </a:br>
            <a:endParaRPr lang="en-GB" sz="220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8" name="Picture 17" descr="A graph of a game&#10;&#10;Description automatically generated">
            <a:extLst>
              <a:ext uri="{FF2B5EF4-FFF2-40B4-BE49-F238E27FC236}">
                <a16:creationId xmlns:a16="http://schemas.microsoft.com/office/drawing/2014/main" id="{74D2CE41-4BF0-27D3-0041-F985FDB96A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39601" y="1849914"/>
            <a:ext cx="7121470" cy="439328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0E85956-1417-4B3F-9097-903E0D57822B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398C008-25A5-7985-3E03-B9A300CD0E7C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BDBCD6E-FBF7-0848-8144-1DEAA3114628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6" name="TextBox 3">
              <a:extLst>
                <a:ext uri="{FF2B5EF4-FFF2-40B4-BE49-F238E27FC236}">
                  <a16:creationId xmlns:a16="http://schemas.microsoft.com/office/drawing/2014/main" id="{5352B0EC-1969-2454-A3FE-19F4554B5E00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754822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6FC5F41-244E-E2B4-9B40-BEB4DB1AD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7497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FC5F41-244E-E2B4-9B40-BEB4DB1AD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A2887D-4AED-BCF7-000C-A52474366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>
                <a:solidFill>
                  <a:schemeClr val="accent6">
                    <a:lumMod val="50000"/>
                  </a:schemeClr>
                </a:solidFill>
              </a:rPr>
              <a:t>Limitations &amp; Conclus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AD1214-BF6B-7A0E-3FB1-226EDF6EA30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88AEE93-7AFA-B3EE-1DCD-5A5C091A6C5D}"/>
              </a:ext>
            </a:extLst>
          </p:cNvPr>
          <p:cNvSpPr/>
          <p:nvPr/>
        </p:nvSpPr>
        <p:spPr>
          <a:xfrm>
            <a:off x="520597" y="1736166"/>
            <a:ext cx="4927703" cy="435665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spcBef>
                <a:spcPts val="400"/>
              </a:spcBef>
            </a:pPr>
            <a:r>
              <a:rPr lang="en-GB" sz="20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Limitations</a:t>
            </a:r>
          </a:p>
          <a:p>
            <a:pPr>
              <a:spcBef>
                <a:spcPts val="400"/>
              </a:spcBef>
            </a:pPr>
            <a:endParaRPr lang="en-GB" sz="1600" b="1">
              <a:solidFill>
                <a:schemeClr val="accent6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>
              <a:spcBef>
                <a:spcPts val="400"/>
              </a:spcBef>
              <a:buFont typeface="Arial"/>
              <a:buChar char="•"/>
            </a:pPr>
            <a:r>
              <a:rPr lang="en-GB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Datasets do not comprehensively cover all segments of the gaming industry (e.g., mobile, console, PC, and emerging platforms like VR)</a:t>
            </a:r>
          </a:p>
          <a:p>
            <a:pPr marL="285750" indent="-285750">
              <a:spcBef>
                <a:spcPts val="400"/>
              </a:spcBef>
              <a:buFont typeface="Arial"/>
              <a:buChar char="•"/>
            </a:pPr>
            <a:r>
              <a:rPr lang="en-GB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Gaming industry is highly dynamic, with trends and consumer preferences changing swiftly. Data collected even a few months ago might not accurately reflect current market conditions or forecast future trends effectively</a:t>
            </a:r>
            <a:endParaRPr lang="en-GB" sz="240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4" name="Picture 13" descr="Neon Coloured Gadgets">
            <a:extLst>
              <a:ext uri="{FF2B5EF4-FFF2-40B4-BE49-F238E27FC236}">
                <a16:creationId xmlns:a16="http://schemas.microsoft.com/office/drawing/2014/main" id="{EC995AE1-A91F-7323-B332-A9DC7D381BD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50000"/>
          </a:blip>
          <a:srcRect b="20775"/>
          <a:stretch/>
        </p:blipFill>
        <p:spPr>
          <a:xfrm>
            <a:off x="6096010" y="0"/>
            <a:ext cx="1219198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9C57FDE-11A2-3D29-AFA9-DC6114C4812E}"/>
              </a:ext>
            </a:extLst>
          </p:cNvPr>
          <p:cNvSpPr/>
          <p:nvPr/>
        </p:nvSpPr>
        <p:spPr>
          <a:xfrm>
            <a:off x="9060872" y="549275"/>
            <a:ext cx="2925968" cy="85463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spcBef>
                <a:spcPts val="400"/>
              </a:spcBef>
            </a:pPr>
            <a:r>
              <a:rPr lang="en-GB" sz="20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THANK YOU!</a:t>
            </a:r>
            <a:endParaRPr lang="en-GB" sz="240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72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80E58E-7623-5740-27C8-C6C6731EA9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5151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80E58E-7623-5740-27C8-C6C6731EA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DEC7FF-3D3C-4D92-4001-956A6300D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sz="3600" b="1">
                <a:solidFill>
                  <a:schemeClr val="bg1"/>
                </a:solidFill>
              </a:rPr>
              <a:t>Data Sources</a:t>
            </a:r>
            <a:endParaRPr lang="en-US" sz="3600" b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A62603-69E3-5820-E5EB-8BA0C41DF231}"/>
              </a:ext>
            </a:extLst>
          </p:cNvPr>
          <p:cNvSpPr/>
          <p:nvPr/>
        </p:nvSpPr>
        <p:spPr>
          <a:xfrm>
            <a:off x="435843" y="2127576"/>
            <a:ext cx="2656092" cy="293726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Video Game Sales</a:t>
            </a:r>
          </a:p>
          <a:p>
            <a:pPr algn="ctr"/>
            <a:r>
              <a:rPr lang="en-US" b="1">
                <a:solidFill>
                  <a:schemeClr val="bg1"/>
                </a:solidFill>
              </a:rPr>
              <a:t>"vgsales.csv"</a:t>
            </a:r>
          </a:p>
          <a:p>
            <a:pPr algn="ctr"/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>
                <a:solidFill>
                  <a:schemeClr val="bg1"/>
                </a:solidFill>
              </a:rPr>
              <a:t>Scraped from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vgchartz.com</a:t>
            </a:r>
          </a:p>
          <a:p>
            <a:pPr algn="ctr"/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 sz="1100">
                <a:solidFill>
                  <a:srgbClr val="3C4043"/>
                </a:solidFill>
                <a:ea typeface="+mn-lt"/>
                <a:cs typeface="+mn-lt"/>
              </a:rPr>
              <a:t>This dataset contains a list of video games with sales greater than 100,000 copies</a:t>
            </a:r>
            <a:endParaRPr lang="en-US" sz="1100">
              <a:solidFill>
                <a:srgbClr val="202124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BD2B9A-7536-F8BA-B228-D98E92B0EF59}"/>
              </a:ext>
            </a:extLst>
          </p:cNvPr>
          <p:cNvSpPr/>
          <p:nvPr/>
        </p:nvSpPr>
        <p:spPr>
          <a:xfrm>
            <a:off x="3330217" y="2127576"/>
            <a:ext cx="2648903" cy="293726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DE" b="1">
                <a:solidFill>
                  <a:schemeClr val="bg1"/>
                </a:solidFill>
              </a:rPr>
              <a:t>List of Best-Selling Game Consoles</a:t>
            </a:r>
            <a:endParaRPr lang="en-US" b="1">
              <a:solidFill>
                <a:schemeClr val="bg1"/>
              </a:solidFill>
            </a:endParaRPr>
          </a:p>
          <a:p>
            <a:pPr algn="ctr"/>
            <a:endParaRPr lang="en-US">
              <a:solidFill>
                <a:schemeClr val="bg1"/>
              </a:solidFill>
              <a:ea typeface="+mn-lt"/>
              <a:cs typeface="+mn-lt"/>
            </a:endParaRPr>
          </a:p>
          <a:p>
            <a:pPr algn="ctr"/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Scraped from Wikipedia.com</a:t>
            </a:r>
            <a:endParaRPr lang="en-US">
              <a:solidFill>
                <a:schemeClr val="bg1"/>
              </a:solidFill>
            </a:endParaRPr>
          </a:p>
          <a:p>
            <a:pPr algn="ctr"/>
            <a:endParaRPr lang="en-US" sz="1100">
              <a:solidFill>
                <a:srgbClr val="202122"/>
              </a:solidFill>
              <a:ea typeface="+mn-lt"/>
              <a:cs typeface="+mn-lt"/>
            </a:endParaRPr>
          </a:p>
          <a:p>
            <a:pPr algn="ctr"/>
            <a:r>
              <a:rPr lang="en-US" sz="1100">
                <a:solidFill>
                  <a:srgbClr val="202122"/>
                </a:solidFill>
                <a:ea typeface="+mn-lt"/>
                <a:cs typeface="+mn-lt"/>
              </a:rPr>
              <a:t>The data contains video game consoles that have sold at least 1 million units worldwide</a:t>
            </a:r>
            <a:endParaRPr lang="en-US" sz="1100">
              <a:solidFill>
                <a:srgbClr val="20212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3AC7D7-CB88-7BEE-8199-B2BFE12DADAC}"/>
              </a:ext>
            </a:extLst>
          </p:cNvPr>
          <p:cNvSpPr/>
          <p:nvPr/>
        </p:nvSpPr>
        <p:spPr>
          <a:xfrm>
            <a:off x="6220066" y="2127576"/>
            <a:ext cx="2641715" cy="293726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DE" b="1">
                <a:solidFill>
                  <a:schemeClr val="bg1"/>
                </a:solidFill>
              </a:rPr>
              <a:t>Worldwide PS4 &amp; PS5 Software Unit Sales</a:t>
            </a:r>
            <a:endParaRPr lang="en-US">
              <a:solidFill>
                <a:schemeClr val="bg1"/>
              </a:solidFill>
            </a:endParaRPr>
          </a:p>
          <a:p>
            <a:pPr algn="ctr"/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Scraped from SonyInteractive.com</a:t>
            </a:r>
            <a:endParaRPr lang="en-US">
              <a:solidFill>
                <a:schemeClr val="bg1"/>
              </a:solidFill>
            </a:endParaRPr>
          </a:p>
          <a:p>
            <a:pPr algn="ctr"/>
            <a:endParaRPr lang="en-US" sz="1100">
              <a:solidFill>
                <a:srgbClr val="202122"/>
              </a:solidFill>
              <a:ea typeface="+mn-lt"/>
              <a:cs typeface="+mn-lt"/>
            </a:endParaRPr>
          </a:p>
          <a:p>
            <a:pPr algn="ctr"/>
            <a:r>
              <a:rPr lang="en-US" sz="1100">
                <a:solidFill>
                  <a:srgbClr val="202122"/>
                </a:solidFill>
                <a:ea typeface="+mn-lt"/>
                <a:cs typeface="+mn-lt"/>
              </a:rPr>
              <a:t>The data contains unit sales for </a:t>
            </a:r>
            <a:r>
              <a:rPr lang="en-US" sz="1100">
                <a:solidFill>
                  <a:schemeClr val="bg1"/>
                </a:solidFill>
                <a:ea typeface="+mn-lt"/>
                <a:cs typeface="+mn-lt"/>
              </a:rPr>
              <a:t>PlayStation®4 &amp; PlayStation®5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3A598A-8582-51D6-9193-836F6907E289}"/>
              </a:ext>
            </a:extLst>
          </p:cNvPr>
          <p:cNvSpPr/>
          <p:nvPr/>
        </p:nvSpPr>
        <p:spPr>
          <a:xfrm>
            <a:off x="9109914" y="2127575"/>
            <a:ext cx="2641715" cy="293726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solidFill>
                  <a:srgbClr val="000000"/>
                </a:solidFill>
                <a:latin typeface="Avenir Next LT Pro"/>
                <a:ea typeface="Verdana"/>
              </a:rPr>
              <a:t>Largest Overall Prize Pools in Esports</a:t>
            </a:r>
            <a:endParaRPr lang="en-US"/>
          </a:p>
          <a:p>
            <a:pPr algn="ctr"/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Scraped from EsportsEarnings.com</a:t>
            </a:r>
          </a:p>
          <a:p>
            <a:pPr algn="ctr"/>
            <a:endParaRPr lang="en-US" sz="1100">
              <a:solidFill>
                <a:srgbClr val="202122"/>
              </a:solidFill>
              <a:ea typeface="+mn-lt"/>
              <a:cs typeface="+mn-lt"/>
            </a:endParaRPr>
          </a:p>
          <a:p>
            <a:pPr algn="ctr"/>
            <a:r>
              <a:rPr lang="en-US" sz="1100">
                <a:solidFill>
                  <a:srgbClr val="202122"/>
                </a:solidFill>
                <a:latin typeface="Avenir Next LT Pro"/>
                <a:ea typeface="Verdana"/>
                <a:cs typeface="+mn-lt"/>
              </a:rPr>
              <a:t>This list represents video game tournaments with the largest prize pools in espor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142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D8DDED5-7925-63A9-E8D0-493D0EB24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112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8DDED5-7925-63A9-E8D0-493D0EB24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 descr="Game controller outline">
            <a:extLst>
              <a:ext uri="{FF2B5EF4-FFF2-40B4-BE49-F238E27FC236}">
                <a16:creationId xmlns:a16="http://schemas.microsoft.com/office/drawing/2014/main" id="{3C40400D-C46D-53B0-EB9D-FE362FE80C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A1346EB-4035-E8EE-31DA-9F98F567A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104928" cy="5337077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pPr algn="ctr"/>
            <a:r>
              <a:rPr lang="en-GB" sz="3600" b="1">
                <a:solidFill>
                  <a:schemeClr val="bg1"/>
                </a:solidFill>
              </a:rPr>
              <a:t>Part I: The </a:t>
            </a:r>
            <a:r>
              <a:rPr lang="en-GB" sz="3600" b="1">
                <a:solidFill>
                  <a:srgbClr val="7030A0"/>
                </a:solidFill>
              </a:rPr>
              <a:t>Market</a:t>
            </a:r>
          </a:p>
        </p:txBody>
      </p:sp>
    </p:spTree>
    <p:extLst>
      <p:ext uri="{BB962C8B-B14F-4D97-AF65-F5344CB8AC3E}">
        <p14:creationId xmlns:p14="http://schemas.microsoft.com/office/powerpoint/2010/main" val="20023235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6A758F4-C4D9-F87F-5986-DFC797C22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0918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758F4-C4D9-F87F-5986-DFC797C22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B57BA8D-3AE8-990F-8218-083935EA5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2700">
                <a:solidFill>
                  <a:schemeClr val="bg1"/>
                </a:solidFill>
              </a:rPr>
              <a:t>What does the market look like?</a:t>
            </a:r>
            <a:br>
              <a:rPr lang="en-GB" sz="2700" b="1"/>
            </a:br>
            <a:r>
              <a:rPr lang="en-GB" sz="2700" b="1">
                <a:solidFill>
                  <a:schemeClr val="accent6">
                    <a:lumMod val="50000"/>
                  </a:schemeClr>
                </a:solidFill>
              </a:rPr>
              <a:t>A Global Market Overview</a:t>
            </a:r>
            <a:br>
              <a:rPr lang="en-GB"/>
            </a:br>
            <a:endParaRPr lang="en-GB" sz="240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9" name="Graphic 8" descr="Game controller outline">
            <a:extLst>
              <a:ext uri="{FF2B5EF4-FFF2-40B4-BE49-F238E27FC236}">
                <a16:creationId xmlns:a16="http://schemas.microsoft.com/office/drawing/2014/main" id="{A5E22A7C-AC4A-B302-DEC4-FB64A325DC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DDBAFA1C-0460-8052-37EC-5A30FF7C5F33}"/>
              </a:ext>
            </a:extLst>
          </p:cNvPr>
          <p:cNvSpPr txBox="1">
            <a:spLocks/>
          </p:cNvSpPr>
          <p:nvPr/>
        </p:nvSpPr>
        <p:spPr>
          <a:xfrm>
            <a:off x="7693147" y="2401521"/>
            <a:ext cx="4232276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2700" b="1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8658C7-70A2-E6EA-D248-BB60B8A41635}"/>
              </a:ext>
            </a:extLst>
          </p:cNvPr>
          <p:cNvSpPr/>
          <p:nvPr/>
        </p:nvSpPr>
        <p:spPr>
          <a:xfrm>
            <a:off x="8582438" y="2008262"/>
            <a:ext cx="3058700" cy="3631962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US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GB" sz="14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Video game sales decline due to </a:t>
            </a:r>
            <a:r>
              <a:rPr lang="en-GB" sz="14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rising mobile game popularity</a:t>
            </a:r>
          </a:p>
          <a:p>
            <a:pPr marL="285750" indent="-285750">
              <a:buFont typeface="Arial"/>
              <a:buChar char="•"/>
            </a:pPr>
            <a:r>
              <a:rPr lang="en-GB" sz="14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Microsoft and Sony respond to the mobile-gaming trend by offering cloud-based subscriptions for multi-device access</a:t>
            </a:r>
            <a:endParaRPr lang="en-GB">
              <a:solidFill>
                <a:schemeClr val="accent6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GB" sz="14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The gaming industry must adapt to </a:t>
            </a:r>
            <a:r>
              <a:rPr lang="en-GB" sz="1400" b="1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changing preferences and tech trends</a:t>
            </a:r>
            <a:r>
              <a:rPr lang="en-GB" sz="1400">
                <a:solidFill>
                  <a:schemeClr val="accent6">
                    <a:lumMod val="50000"/>
                  </a:schemeClr>
                </a:solidFill>
                <a:ea typeface="+mn-lt"/>
                <a:cs typeface="+mn-lt"/>
              </a:rPr>
              <a:t>, driven by smartphones, social media games, and streaming services</a:t>
            </a:r>
            <a:endParaRPr lang="en-GB">
              <a:solidFill>
                <a:schemeClr val="accent6">
                  <a:lumMod val="50000"/>
                </a:schemeClr>
              </a:solidFill>
            </a:endParaRPr>
          </a:p>
          <a:p>
            <a:endParaRPr lang="en-GB" sz="200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C5F509E-C78C-E648-EF6F-BA70A47CFCBB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691E574-2750-8CB3-211C-BB6EC8213549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0B7CE2-7356-8CF7-C5AF-582D88393EC0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15" name="TextBox 3">
              <a:extLst>
                <a:ext uri="{FF2B5EF4-FFF2-40B4-BE49-F238E27FC236}">
                  <a16:creationId xmlns:a16="http://schemas.microsoft.com/office/drawing/2014/main" id="{EB655FE1-A3BE-6DBD-C1BE-40D71A196232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  <p:pic>
        <p:nvPicPr>
          <p:cNvPr id="4" name="Picture 3" descr="A graph showing growth of a dollar&#10;&#10;Description automatically generated">
            <a:extLst>
              <a:ext uri="{FF2B5EF4-FFF2-40B4-BE49-F238E27FC236}">
                <a16:creationId xmlns:a16="http://schemas.microsoft.com/office/drawing/2014/main" id="{4FC65A09-95DC-8F3D-88D1-8B14629AE7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453" y="1538583"/>
            <a:ext cx="7354018" cy="4550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4355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6A758F4-C4D9-F87F-5986-DFC797C222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4766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758F4-C4D9-F87F-5986-DFC797C22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B57BA8D-3AE8-990F-8218-083935EA5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104928" cy="1219346"/>
          </a:xfrm>
        </p:spPr>
        <p:txBody>
          <a:bodyPr vert="horz">
            <a:normAutofit fontScale="90000"/>
          </a:bodyPr>
          <a:lstStyle/>
          <a:p>
            <a:r>
              <a:rPr lang="en-GB" sz="2700">
                <a:solidFill>
                  <a:schemeClr val="bg1"/>
                </a:solidFill>
              </a:rPr>
              <a:t>What explains the sharp downward turn post 2011?</a:t>
            </a:r>
            <a:br>
              <a:rPr lang="en-GB" sz="2700" b="1"/>
            </a:br>
            <a:r>
              <a:rPr lang="en-GB" sz="2700" b="1">
                <a:solidFill>
                  <a:schemeClr val="bg1"/>
                </a:solidFill>
              </a:rPr>
              <a:t>Sudden Level Down in Game Releases: The Likely Culprit</a:t>
            </a:r>
            <a:br>
              <a:rPr lang="en-GB" sz="2700" b="1">
                <a:solidFill>
                  <a:schemeClr val="bg1"/>
                </a:solidFill>
              </a:rPr>
            </a:br>
            <a:endParaRPr lang="en-GB" sz="2700" b="1">
              <a:solidFill>
                <a:schemeClr val="bg1"/>
              </a:solidFill>
            </a:endParaRPr>
          </a:p>
        </p:txBody>
      </p:sp>
      <p:pic>
        <p:nvPicPr>
          <p:cNvPr id="9" name="Graphic 8" descr="Game controller outline">
            <a:extLst>
              <a:ext uri="{FF2B5EF4-FFF2-40B4-BE49-F238E27FC236}">
                <a16:creationId xmlns:a16="http://schemas.microsoft.com/office/drawing/2014/main" id="{A5E22A7C-AC4A-B302-DEC4-FB64A325DC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pic>
        <p:nvPicPr>
          <p:cNvPr id="10" name="Picture 9" descr="A graph showing sales infection&#10;&#10;Description automatically generated">
            <a:extLst>
              <a:ext uri="{FF2B5EF4-FFF2-40B4-BE49-F238E27FC236}">
                <a16:creationId xmlns:a16="http://schemas.microsoft.com/office/drawing/2014/main" id="{E3935833-5AF5-5148-BD6F-E44E73257D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4650" y="1384933"/>
            <a:ext cx="7964365" cy="4924109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1F61A09-C36D-B45C-E4E1-5C0EC8906EE5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FE4E03E-DF09-49CF-20C5-CDD15FD0E710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40EF684-4750-ED1D-91C1-7ACD11F2500C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17" name="TextBox 3">
              <a:extLst>
                <a:ext uri="{FF2B5EF4-FFF2-40B4-BE49-F238E27FC236}">
                  <a16:creationId xmlns:a16="http://schemas.microsoft.com/office/drawing/2014/main" id="{4D01FC75-9AF6-F9C9-6A84-15BBBB6699FE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8940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D8DDED5-7925-63A9-E8D0-493D0EB24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12941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8DDED5-7925-63A9-E8D0-493D0EB24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 descr="Game controller outline">
            <a:extLst>
              <a:ext uri="{FF2B5EF4-FFF2-40B4-BE49-F238E27FC236}">
                <a16:creationId xmlns:a16="http://schemas.microsoft.com/office/drawing/2014/main" id="{3C40400D-C46D-53B0-EB9D-FE362FE80C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A1346EB-4035-E8EE-31DA-9F98F567A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104928" cy="5337077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pPr algn="ctr"/>
            <a:r>
              <a:rPr lang="en-GB" sz="3600" b="1">
                <a:solidFill>
                  <a:schemeClr val="bg1"/>
                </a:solidFill>
              </a:rPr>
              <a:t>Who led this trend?</a:t>
            </a:r>
            <a:br>
              <a:rPr lang="en-GB" sz="3600" b="1">
                <a:solidFill>
                  <a:schemeClr val="accent6"/>
                </a:solidFill>
              </a:rPr>
            </a:br>
            <a:br>
              <a:rPr lang="en-GB" sz="3600" b="1"/>
            </a:br>
            <a:r>
              <a:rPr lang="en-GB" sz="3600" b="1">
                <a:solidFill>
                  <a:schemeClr val="bg1"/>
                </a:solidFill>
              </a:rPr>
              <a:t>Part II: The </a:t>
            </a:r>
            <a:r>
              <a:rPr lang="en-GB" sz="3600" b="1">
                <a:solidFill>
                  <a:srgbClr val="7030A0"/>
                </a:solidFill>
              </a:rPr>
              <a:t>Players</a:t>
            </a:r>
            <a:endParaRPr lang="en-GB" sz="3600" b="1"/>
          </a:p>
        </p:txBody>
      </p:sp>
    </p:spTree>
    <p:extLst>
      <p:ext uri="{BB962C8B-B14F-4D97-AF65-F5344CB8AC3E}">
        <p14:creationId xmlns:p14="http://schemas.microsoft.com/office/powerpoint/2010/main" val="21175263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D8DDED5-7925-63A9-E8D0-493D0EB24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8433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8DDED5-7925-63A9-E8D0-493D0EB24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 descr="Game controller outline">
            <a:extLst>
              <a:ext uri="{FF2B5EF4-FFF2-40B4-BE49-F238E27FC236}">
                <a16:creationId xmlns:a16="http://schemas.microsoft.com/office/drawing/2014/main" id="{3C40400D-C46D-53B0-EB9D-FE362FE80C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A1346EB-4035-E8EE-31DA-9F98F567A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2700">
                <a:solidFill>
                  <a:schemeClr val="bg1"/>
                </a:solidFill>
              </a:rPr>
              <a:t>Who are the key companies in the console market?</a:t>
            </a:r>
            <a:br>
              <a:rPr lang="en-GB" sz="2700" b="1"/>
            </a:br>
            <a:r>
              <a:rPr lang="en-GB" sz="3000" b="1">
                <a:solidFill>
                  <a:schemeClr val="accent6">
                    <a:lumMod val="50000"/>
                  </a:schemeClr>
                </a:solidFill>
              </a:rPr>
              <a:t>Console Wars: The Battle for Market Dominance</a:t>
            </a:r>
            <a:br>
              <a:rPr lang="en-GB" sz="3000"/>
            </a:br>
            <a:endParaRPr lang="en-GB" sz="300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0C4DD52-4A84-11AD-BE3C-425AB50346BE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45F667A-8C6D-B3E2-E04F-6E7B92B9CDD6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E871F27-209E-DF51-A9E0-E49FD10D7F84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12" name="TextBox 3">
              <a:extLst>
                <a:ext uri="{FF2B5EF4-FFF2-40B4-BE49-F238E27FC236}">
                  <a16:creationId xmlns:a16="http://schemas.microsoft.com/office/drawing/2014/main" id="{661F49BF-C4B5-D70E-0CAE-B1C7D342B2CB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8291F0B9-D747-028C-5996-92638E9DEA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038" y="1534712"/>
            <a:ext cx="7921924" cy="462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775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DB7F39E-D7F7-8352-CFF9-8872030632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8484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B7F39E-D7F7-8352-CFF9-8872030632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 descr="Game controller outline">
            <a:extLst>
              <a:ext uri="{FF2B5EF4-FFF2-40B4-BE49-F238E27FC236}">
                <a16:creationId xmlns:a16="http://schemas.microsoft.com/office/drawing/2014/main" id="{82C53168-A222-3072-1650-C9CA6F9F1E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7019B9A-9243-1D5F-6786-13D94EFBC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641137" cy="984885"/>
          </a:xfrm>
        </p:spPr>
        <p:txBody>
          <a:bodyPr vert="horz">
            <a:normAutofit fontScale="90000"/>
          </a:bodyPr>
          <a:lstStyle/>
          <a:p>
            <a:r>
              <a:rPr lang="en-GB" sz="2700">
                <a:solidFill>
                  <a:schemeClr val="bg1"/>
                </a:solidFill>
              </a:rPr>
              <a:t>Let's investigate the makeup of the console market...</a:t>
            </a:r>
            <a:br>
              <a:rPr lang="en-GB" sz="2700" b="1"/>
            </a:br>
            <a:r>
              <a:rPr lang="en-GB" sz="3000" b="1">
                <a:solidFill>
                  <a:schemeClr val="accent6">
                    <a:lumMod val="50000"/>
                  </a:schemeClr>
                </a:solidFill>
              </a:rPr>
              <a:t>Triumvirate of Tech: Decade-Long Dominance in the Console Market</a:t>
            </a:r>
            <a:endParaRPr lang="en-DE" sz="300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0" name="Picture 9" descr="A graph of sales in a video game&#10;&#10;Description automatically generated">
            <a:extLst>
              <a:ext uri="{FF2B5EF4-FFF2-40B4-BE49-F238E27FC236}">
                <a16:creationId xmlns:a16="http://schemas.microsoft.com/office/drawing/2014/main" id="{ADF461AE-089E-E537-057B-4D6F5BF34D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6191" y="1692309"/>
            <a:ext cx="7678614" cy="4726283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EEA71F2-C7CE-350A-AB0A-E247661CB96C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EE63531-4C50-1790-D3D3-E90FB4ED0AA0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CB8E85F-7A7D-75C1-029E-EBFDD11B118C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18" name="TextBox 3">
              <a:extLst>
                <a:ext uri="{FF2B5EF4-FFF2-40B4-BE49-F238E27FC236}">
                  <a16:creationId xmlns:a16="http://schemas.microsoft.com/office/drawing/2014/main" id="{51ACD117-AA48-CF50-FDBC-9971CF9485DF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93413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DB7F39E-D7F7-8352-CFF9-8872030632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3733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B7F39E-D7F7-8352-CFF9-8872030632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 descr="Game controller outline">
            <a:extLst>
              <a:ext uri="{FF2B5EF4-FFF2-40B4-BE49-F238E27FC236}">
                <a16:creationId xmlns:a16="http://schemas.microsoft.com/office/drawing/2014/main" id="{82C53168-A222-3072-1650-C9CA6F9F1E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89792" y="6044184"/>
            <a:ext cx="755904" cy="75590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7019B9A-9243-1D5F-6786-13D94EFBCD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sz="2400">
                <a:solidFill>
                  <a:schemeClr val="bg1"/>
                </a:solidFill>
              </a:rPr>
              <a:t>Let's take a closer look...</a:t>
            </a:r>
            <a:br>
              <a:rPr lang="en-GB" sz="2700" b="1">
                <a:solidFill>
                  <a:schemeClr val="accent6">
                    <a:lumMod val="50000"/>
                  </a:schemeClr>
                </a:solidFill>
              </a:rPr>
            </a:br>
            <a:r>
              <a:rPr lang="en-GB" sz="2700" b="1">
                <a:solidFill>
                  <a:schemeClr val="accent6">
                    <a:lumMod val="50000"/>
                  </a:schemeClr>
                </a:solidFill>
              </a:rPr>
              <a:t>The Sony-Nintendo Rivalry Defines a Decade</a:t>
            </a:r>
            <a:endParaRPr lang="en-DE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9DF412-C102-AF73-300F-C0844B4B71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32539" y="1956079"/>
            <a:ext cx="7326923" cy="4528456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BFDFCE2B-1753-3322-1AEB-19A6DA322C02}"/>
              </a:ext>
            </a:extLst>
          </p:cNvPr>
          <p:cNvGrpSpPr/>
          <p:nvPr/>
        </p:nvGrpSpPr>
        <p:grpSpPr>
          <a:xfrm>
            <a:off x="4178506" y="6422136"/>
            <a:ext cx="3834988" cy="307777"/>
            <a:chOff x="237147" y="5301679"/>
            <a:chExt cx="3834988" cy="30777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DEAED33-173F-8EDD-3949-FEE67A159147}"/>
                </a:ext>
              </a:extLst>
            </p:cNvPr>
            <p:cNvSpPr txBox="1"/>
            <p:nvPr/>
          </p:nvSpPr>
          <p:spPr>
            <a:xfrm>
              <a:off x="237147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Market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019929D-E3C2-8A18-06F9-38AE4D37ED2D}"/>
                </a:ext>
              </a:extLst>
            </p:cNvPr>
            <p:cNvSpPr txBox="1"/>
            <p:nvPr/>
          </p:nvSpPr>
          <p:spPr>
            <a:xfrm>
              <a:off x="1524612" y="5301679"/>
              <a:ext cx="1270841" cy="307777"/>
            </a:xfrm>
            <a:prstGeom prst="chevron">
              <a:avLst/>
            </a:prstGeom>
            <a:solidFill>
              <a:srgbClr val="4F516F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Players</a:t>
              </a:r>
            </a:p>
          </p:txBody>
        </p:sp>
        <p:sp>
          <p:nvSpPr>
            <p:cNvPr id="19" name="TextBox 3">
              <a:extLst>
                <a:ext uri="{FF2B5EF4-FFF2-40B4-BE49-F238E27FC236}">
                  <a16:creationId xmlns:a16="http://schemas.microsoft.com/office/drawing/2014/main" id="{BC9401E8-394E-D419-0DF7-44BF5868771C}"/>
                </a:ext>
              </a:extLst>
            </p:cNvPr>
            <p:cNvSpPr txBox="1"/>
            <p:nvPr/>
          </p:nvSpPr>
          <p:spPr>
            <a:xfrm>
              <a:off x="2801294" y="5301679"/>
              <a:ext cx="1270841" cy="30777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/>
                <a:t>Care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703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DFloatVTI">
  <a:themeElements>
    <a:clrScheme name="Float">
      <a:dk1>
        <a:sysClr val="windowText" lastClr="000000"/>
      </a:dk1>
      <a:lt1>
        <a:sysClr val="window" lastClr="FFFFFF"/>
      </a:lt1>
      <a:dk2>
        <a:srgbClr val="1B192E"/>
      </a:dk2>
      <a:lt2>
        <a:srgbClr val="EAE5EB"/>
      </a:lt2>
      <a:accent1>
        <a:srgbClr val="13BE89"/>
      </a:accent1>
      <a:accent2>
        <a:srgbClr val="12B1BF"/>
      </a:accent2>
      <a:accent3>
        <a:srgbClr val="D40AA8"/>
      </a:accent3>
      <a:accent4>
        <a:srgbClr val="B86E62"/>
      </a:accent4>
      <a:accent5>
        <a:srgbClr val="A3A3C1"/>
      </a:accent5>
      <a:accent6>
        <a:srgbClr val="37335B"/>
      </a:accent6>
      <a:hlink>
        <a:srgbClr val="0066FF"/>
      </a:hlink>
      <a:folHlink>
        <a:srgbClr val="666699"/>
      </a:folHlink>
    </a:clrScheme>
    <a:fontScheme name="Floa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DFloatVTI" id="{F59BA300-ED19-4B39-9AE3-7882B1DE8B78}" vid="{0FEC63E3-719F-4F50-9F1E-5B8BAF3910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00</Words>
  <Application>Microsoft Macintosh PowerPoint</Application>
  <PresentationFormat>Widescreen</PresentationFormat>
  <Paragraphs>132</Paragraphs>
  <Slides>16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Avenir Next LT Pro</vt:lpstr>
      <vt:lpstr>Calibri</vt:lpstr>
      <vt:lpstr>Söhne</vt:lpstr>
      <vt:lpstr>The Serif Hand Black</vt:lpstr>
      <vt:lpstr>3DFloatVTI</vt:lpstr>
      <vt:lpstr>think-cell Slide</vt:lpstr>
      <vt:lpstr>Digital Playgrounds:  A Snapshot of Today's Gaming Industry</vt:lpstr>
      <vt:lpstr>Data Sources</vt:lpstr>
      <vt:lpstr>Part I: The Market</vt:lpstr>
      <vt:lpstr>What does the market look like? A Global Market Overview </vt:lpstr>
      <vt:lpstr>What explains the sharp downward turn post 2011? Sudden Level Down in Game Releases: The Likely Culprit </vt:lpstr>
      <vt:lpstr>Who led this trend?  Part II: The Players</vt:lpstr>
      <vt:lpstr>Who are the key companies in the console market? Console Wars: The Battle for Market Dominance </vt:lpstr>
      <vt:lpstr>Let's investigate the makeup of the console market... Triumvirate of Tech: Decade-Long Dominance in the Console Market</vt:lpstr>
      <vt:lpstr>Let's take a closer look... The Sony-Nintendo Rivalry Defines a Decade</vt:lpstr>
      <vt:lpstr>Showcasing Japan's Pioneering Consoles That Revolutionized the Global Gaming Market Decade's Defenders: Stalwarts of the Console Market</vt:lpstr>
      <vt:lpstr>How do newer versions impact sales? The PlayStation Legacy: PS4 and PS5's Market Impact </vt:lpstr>
      <vt:lpstr>What are PlayStation's most popular games?  Diving into the PlayStation Universe: A Spectrum of Blockbusters</vt:lpstr>
      <vt:lpstr>What opportunities lie in this industry?  Part III: The Career</vt:lpstr>
      <vt:lpstr>Wait, but what about professional gaming?  From Living Room to Arena: The Rise of Professional E-Sports </vt:lpstr>
      <vt:lpstr>Wait, but what about professional gaming?  From Living Room to Arena: The Rise of Professional E-Sports </vt:lpstr>
      <vt:lpstr>Limitations &amp; 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</dc:title>
  <dc:creator/>
  <cp:lastModifiedBy>Svenja Nitschke</cp:lastModifiedBy>
  <cp:revision>1</cp:revision>
  <cp:lastPrinted>2023-11-21T12:08:57Z</cp:lastPrinted>
  <dcterms:created xsi:type="dcterms:W3CDTF">2023-11-20T08:47:20Z</dcterms:created>
  <dcterms:modified xsi:type="dcterms:W3CDTF">2023-11-21T12:09:22Z</dcterms:modified>
</cp:coreProperties>
</file>